
<file path=[Content_Types].xml><?xml version="1.0" encoding="utf-8"?>
<Types xmlns="http://schemas.openxmlformats.org/package/2006/content-types"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3711" r:id="rId2"/>
  </p:sldIdLst>
  <p:sldSz cx="12192000" cy="6858000"/>
  <p:notesSz cx="6858000" cy="9144000"/>
  <p:custDataLst>
    <p:tags r:id="rId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4" orient="horz" pos="327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7D"/>
    <a:srgbClr val="B8C9E3"/>
    <a:srgbClr val="A1F2FF"/>
    <a:srgbClr val="CEE6F3"/>
    <a:srgbClr val="1990D4"/>
    <a:srgbClr val="00003F"/>
    <a:srgbClr val="00B3E3"/>
    <a:srgbClr val="000099"/>
    <a:srgbClr val="DFECFD"/>
    <a:srgbClr val="F5FA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850" autoAdjust="0"/>
    <p:restoredTop sz="96201" autoAdjust="0"/>
  </p:normalViewPr>
  <p:slideViewPr>
    <p:cSldViewPr snapToGrid="0">
      <p:cViewPr varScale="1">
        <p:scale>
          <a:sx n="106" d="100"/>
          <a:sy n="106" d="100"/>
        </p:scale>
        <p:origin x="486" y="96"/>
      </p:cViewPr>
      <p:guideLst>
        <p:guide pos="3840"/>
        <p:guide orient="horz" pos="327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110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Tahoma" panose="020B0604030504040204" pitchFamily="34" charset="0"/>
              </a:defRPr>
            </a:lvl1pPr>
          </a:lstStyle>
          <a:p>
            <a:fld id="{C30DC546-A160-40B6-92C2-C2C8C7C6873D}" type="datetimeFigureOut">
              <a:rPr lang="en-US" smtClean="0"/>
              <a:pPr/>
              <a:t>4/6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Tahoma" panose="020B0604030504040204" pitchFamily="34" charset="0"/>
              </a:defRPr>
            </a:lvl1pPr>
          </a:lstStyle>
          <a:p>
            <a:fld id="{DD1A2537-3EE0-4E98-9EF3-DEFAB0CB953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71881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Tahoma" panose="020B0604030504040204" pitchFamily="34" charset="0"/>
        <a:ea typeface="+mn-ea"/>
        <a:cs typeface="+mn-cs"/>
      </a:defRPr>
    </a:lvl1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1A2537-3EE0-4E98-9EF3-DEFAB0CB953E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75338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DD1971-E320-456C-8B67-8B88B9AFA2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84665"/>
          </a:xfrm>
          <a:prstGeom prst="rect">
            <a:avLst/>
          </a:prstGeom>
        </p:spPr>
        <p:txBody>
          <a:bodyPr anchor="t">
            <a:normAutofit/>
          </a:bodyPr>
          <a:lstStyle>
            <a:lvl1pPr algn="ctr">
              <a:defRPr sz="3600" b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E3718D-73D9-4361-9254-1A8D6C5B2A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586E3-F188-4180-8D43-CF184C61D618}" type="datetimeFigureOut">
              <a:rPr lang="en-US" smtClean="0"/>
              <a:t>4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ED377D-5F9A-42F4-9A90-25B0CAD01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87DE87-D0BB-4AB2-935A-2164B63B03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30004" y="6356350"/>
            <a:ext cx="1023796" cy="365125"/>
          </a:xfrm>
        </p:spPr>
        <p:txBody>
          <a:bodyPr/>
          <a:lstStyle/>
          <a:p>
            <a:fld id="{0D66F9FF-6AF2-484B-8F9F-115FCAB9FA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01519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DD1971-E320-456C-8B67-8B88B9AFA2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84665"/>
          </a:xfrm>
          <a:prstGeom prst="rect">
            <a:avLst/>
          </a:prstGeom>
        </p:spPr>
        <p:txBody>
          <a:bodyPr anchor="t">
            <a:noAutofit/>
          </a:bodyPr>
          <a:lstStyle>
            <a:lvl1pPr algn="ctr">
              <a:defRPr sz="3600" b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E3718D-73D9-4361-9254-1A8D6C5B2A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586E3-F188-4180-8D43-CF184C61D618}" type="datetimeFigureOut">
              <a:rPr lang="en-US" smtClean="0"/>
              <a:t>4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ED377D-5F9A-42F4-9A90-25B0CAD01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87DE87-D0BB-4AB2-935A-2164B63B03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30004" y="6356350"/>
            <a:ext cx="1023796" cy="365125"/>
          </a:xfrm>
        </p:spPr>
        <p:txBody>
          <a:bodyPr/>
          <a:lstStyle/>
          <a:p>
            <a:fld id="{0D66F9FF-6AF2-484B-8F9F-115FCAB9FADE}" type="slidenum">
              <a:rPr lang="en-US" smtClean="0"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144686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0083614-B309-4FBC-B91E-FE617CD6F9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716A2D-842B-4196-AEF8-54FBA593F7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FF4693-79F5-4AA8-9D0A-F8E292CE2C9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88586E3-F188-4180-8D43-CF184C61D618}" type="datetimeFigureOut">
              <a:rPr lang="en-US" smtClean="0"/>
              <a:t>4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42E669-5AD1-4712-9719-9C97D81B82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4856B2-33AA-4803-B4CE-B642517526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66F9FF-6AF2-484B-8F9F-115FCAB9FA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1532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731" r:id="rId2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2">
              <a:lumMod val="75000"/>
            </a:schemeClr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67CE08-2A17-433F-81D0-7677B0B7AD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ide Title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0C930E6-34A6-442A-9E42-13D81738FB4B}"/>
              </a:ext>
            </a:extLst>
          </p:cNvPr>
          <p:cNvGrpSpPr/>
          <p:nvPr/>
        </p:nvGrpSpPr>
        <p:grpSpPr>
          <a:xfrm>
            <a:off x="1119646" y="1602876"/>
            <a:ext cx="9952709" cy="4115038"/>
            <a:chOff x="1117600" y="1812197"/>
            <a:chExt cx="9952709" cy="4115038"/>
          </a:xfrm>
        </p:grpSpPr>
        <p:sp>
          <p:nvSpPr>
            <p:cNvPr id="27" name="Rectangle: Single Corner Rounded 26">
              <a:extLst>
                <a:ext uri="{FF2B5EF4-FFF2-40B4-BE49-F238E27FC236}">
                  <a16:creationId xmlns:a16="http://schemas.microsoft.com/office/drawing/2014/main" id="{671B186F-8794-479A-A019-F77084633EB7}"/>
                </a:ext>
              </a:extLst>
            </p:cNvPr>
            <p:cNvSpPr/>
            <p:nvPr/>
          </p:nvSpPr>
          <p:spPr>
            <a:xfrm>
              <a:off x="8733509" y="2028332"/>
              <a:ext cx="2336800" cy="3898901"/>
            </a:xfrm>
            <a:prstGeom prst="round1Rect">
              <a:avLst>
                <a:gd name="adj" fmla="val 44011"/>
              </a:avLst>
            </a:prstGeom>
            <a:solidFill>
              <a:schemeClr val="bg1"/>
            </a:solidFill>
            <a:ln>
              <a:noFill/>
            </a:ln>
            <a:effectLst>
              <a:outerShdw blurRad="63500" algn="ct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33" name="Rectangle: Single Corner Rounded 32">
              <a:extLst>
                <a:ext uri="{FF2B5EF4-FFF2-40B4-BE49-F238E27FC236}">
                  <a16:creationId xmlns:a16="http://schemas.microsoft.com/office/drawing/2014/main" id="{3E86EB4B-FC70-46B0-83E3-C1B8CD087931}"/>
                </a:ext>
              </a:extLst>
            </p:cNvPr>
            <p:cNvSpPr/>
            <p:nvPr/>
          </p:nvSpPr>
          <p:spPr>
            <a:xfrm>
              <a:off x="6197872" y="2028333"/>
              <a:ext cx="2336800" cy="3898901"/>
            </a:xfrm>
            <a:prstGeom prst="round1Rect">
              <a:avLst>
                <a:gd name="adj" fmla="val 44954"/>
              </a:avLst>
            </a:prstGeom>
            <a:solidFill>
              <a:schemeClr val="bg1"/>
            </a:solidFill>
            <a:ln>
              <a:noFill/>
            </a:ln>
            <a:effectLst>
              <a:outerShdw blurRad="63500" algn="ct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39" name="Rectangle: Single Corner Rounded 38">
              <a:extLst>
                <a:ext uri="{FF2B5EF4-FFF2-40B4-BE49-F238E27FC236}">
                  <a16:creationId xmlns:a16="http://schemas.microsoft.com/office/drawing/2014/main" id="{92685F6E-EF11-4CF9-A359-7D0892F6353C}"/>
                </a:ext>
              </a:extLst>
            </p:cNvPr>
            <p:cNvSpPr/>
            <p:nvPr/>
          </p:nvSpPr>
          <p:spPr>
            <a:xfrm>
              <a:off x="3653237" y="2028333"/>
              <a:ext cx="2336800" cy="3898901"/>
            </a:xfrm>
            <a:prstGeom prst="round1Rect">
              <a:avLst>
                <a:gd name="adj" fmla="val 44011"/>
              </a:avLst>
            </a:prstGeom>
            <a:solidFill>
              <a:schemeClr val="bg1"/>
            </a:solidFill>
            <a:ln>
              <a:noFill/>
            </a:ln>
            <a:effectLst>
              <a:outerShdw blurRad="63500" algn="ct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45" name="Rectangle: Single Corner Rounded 44">
              <a:extLst>
                <a:ext uri="{FF2B5EF4-FFF2-40B4-BE49-F238E27FC236}">
                  <a16:creationId xmlns:a16="http://schemas.microsoft.com/office/drawing/2014/main" id="{30184331-63A4-45CD-817B-A4699B316622}"/>
                </a:ext>
              </a:extLst>
            </p:cNvPr>
            <p:cNvSpPr/>
            <p:nvPr/>
          </p:nvSpPr>
          <p:spPr>
            <a:xfrm>
              <a:off x="1117600" y="2028334"/>
              <a:ext cx="2336800" cy="3898901"/>
            </a:xfrm>
            <a:prstGeom prst="round1Rect">
              <a:avLst>
                <a:gd name="adj" fmla="val 44011"/>
              </a:avLst>
            </a:prstGeom>
            <a:solidFill>
              <a:schemeClr val="bg1"/>
            </a:solidFill>
            <a:ln>
              <a:noFill/>
            </a:ln>
            <a:effectLst>
              <a:outerShdw blurRad="63500" algn="ct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59676E1E-E83F-47CD-877E-910DF12117B9}"/>
                </a:ext>
              </a:extLst>
            </p:cNvPr>
            <p:cNvGrpSpPr/>
            <p:nvPr/>
          </p:nvGrpSpPr>
          <p:grpSpPr>
            <a:xfrm flipH="1">
              <a:off x="8733509" y="2028332"/>
              <a:ext cx="2336800" cy="2044700"/>
              <a:chOff x="1257300" y="1778000"/>
              <a:chExt cx="2336800" cy="2044700"/>
            </a:xfrm>
            <a:gradFill>
              <a:gsLst>
                <a:gs pos="32000">
                  <a:schemeClr val="accent4"/>
                </a:gs>
                <a:gs pos="86000">
                  <a:schemeClr val="accent4">
                    <a:lumMod val="75000"/>
                  </a:schemeClr>
                </a:gs>
              </a:gsLst>
              <a:lin ang="2700000" scaled="1"/>
            </a:gradFill>
          </p:grpSpPr>
          <p:sp>
            <p:nvSpPr>
              <p:cNvPr id="24" name="Rectangle: Rounded Corners 23">
                <a:extLst>
                  <a:ext uri="{FF2B5EF4-FFF2-40B4-BE49-F238E27FC236}">
                    <a16:creationId xmlns:a16="http://schemas.microsoft.com/office/drawing/2014/main" id="{975A5387-D16B-4C64-8837-B0AB030DE4E4}"/>
                  </a:ext>
                </a:extLst>
              </p:cNvPr>
              <p:cNvSpPr/>
              <p:nvPr/>
            </p:nvSpPr>
            <p:spPr>
              <a:xfrm>
                <a:off x="1257300" y="1778000"/>
                <a:ext cx="2336800" cy="2044700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5DED3227-187A-4E64-8F05-5419A0A761D2}"/>
                  </a:ext>
                </a:extLst>
              </p:cNvPr>
              <p:cNvSpPr/>
              <p:nvPr/>
            </p:nvSpPr>
            <p:spPr>
              <a:xfrm>
                <a:off x="2628900" y="1778000"/>
                <a:ext cx="965200" cy="20447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028D6953-0481-4180-B0E0-3682E1D6443B}"/>
                  </a:ext>
                </a:extLst>
              </p:cNvPr>
              <p:cNvSpPr/>
              <p:nvPr/>
            </p:nvSpPr>
            <p:spPr>
              <a:xfrm>
                <a:off x="1257300" y="2809874"/>
                <a:ext cx="965200" cy="101282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98A05923-D5C1-4D52-8DA2-BA519CF9BB3B}"/>
                </a:ext>
              </a:extLst>
            </p:cNvPr>
            <p:cNvGrpSpPr/>
            <p:nvPr/>
          </p:nvGrpSpPr>
          <p:grpSpPr>
            <a:xfrm flipH="1">
              <a:off x="6197872" y="2028333"/>
              <a:ext cx="2336800" cy="2044700"/>
              <a:chOff x="1257300" y="1778000"/>
              <a:chExt cx="2336800" cy="2044700"/>
            </a:xfrm>
            <a:gradFill>
              <a:gsLst>
                <a:gs pos="32000">
                  <a:schemeClr val="accent3"/>
                </a:gs>
                <a:gs pos="86000">
                  <a:schemeClr val="accent3">
                    <a:lumMod val="75000"/>
                  </a:schemeClr>
                </a:gs>
              </a:gsLst>
              <a:lin ang="2700000" scaled="1"/>
            </a:gradFill>
          </p:grpSpPr>
          <p:sp>
            <p:nvSpPr>
              <p:cNvPr id="30" name="Rectangle: Rounded Corners 29">
                <a:extLst>
                  <a:ext uri="{FF2B5EF4-FFF2-40B4-BE49-F238E27FC236}">
                    <a16:creationId xmlns:a16="http://schemas.microsoft.com/office/drawing/2014/main" id="{A1AAF4C2-8954-456D-97D7-2EAE1E82DAD9}"/>
                  </a:ext>
                </a:extLst>
              </p:cNvPr>
              <p:cNvSpPr/>
              <p:nvPr/>
            </p:nvSpPr>
            <p:spPr>
              <a:xfrm>
                <a:off x="1257300" y="1778000"/>
                <a:ext cx="2336800" cy="2044700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BDCEEC7F-28D7-4389-BFE5-70419E7A8237}"/>
                  </a:ext>
                </a:extLst>
              </p:cNvPr>
              <p:cNvSpPr/>
              <p:nvPr/>
            </p:nvSpPr>
            <p:spPr>
              <a:xfrm>
                <a:off x="2628900" y="1778000"/>
                <a:ext cx="965200" cy="20447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8F20768A-0328-44C4-8A68-8D36CBD2E6EB}"/>
                  </a:ext>
                </a:extLst>
              </p:cNvPr>
              <p:cNvSpPr/>
              <p:nvPr/>
            </p:nvSpPr>
            <p:spPr>
              <a:xfrm>
                <a:off x="1257300" y="2809874"/>
                <a:ext cx="965200" cy="101282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16E2972B-51B1-46BE-B97B-6BC6C56056A5}"/>
                </a:ext>
              </a:extLst>
            </p:cNvPr>
            <p:cNvGrpSpPr/>
            <p:nvPr/>
          </p:nvGrpSpPr>
          <p:grpSpPr>
            <a:xfrm flipH="1">
              <a:off x="3653237" y="2028333"/>
              <a:ext cx="2336800" cy="2044700"/>
              <a:chOff x="1257300" y="1778000"/>
              <a:chExt cx="2336800" cy="2044700"/>
            </a:xfrm>
            <a:gradFill>
              <a:gsLst>
                <a:gs pos="32000">
                  <a:schemeClr val="accent2"/>
                </a:gs>
                <a:gs pos="86000">
                  <a:schemeClr val="accent2">
                    <a:lumMod val="75000"/>
                  </a:schemeClr>
                </a:gs>
              </a:gsLst>
              <a:lin ang="2700000" scaled="1"/>
            </a:gradFill>
          </p:grpSpPr>
          <p:sp>
            <p:nvSpPr>
              <p:cNvPr id="36" name="Rectangle: Rounded Corners 35">
                <a:extLst>
                  <a:ext uri="{FF2B5EF4-FFF2-40B4-BE49-F238E27FC236}">
                    <a16:creationId xmlns:a16="http://schemas.microsoft.com/office/drawing/2014/main" id="{6B8916C6-55F4-499D-8B56-DA8D4BD5EBC6}"/>
                  </a:ext>
                </a:extLst>
              </p:cNvPr>
              <p:cNvSpPr/>
              <p:nvPr/>
            </p:nvSpPr>
            <p:spPr>
              <a:xfrm>
                <a:off x="1257300" y="1778000"/>
                <a:ext cx="2336800" cy="2044700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A605F48F-1437-4765-93D4-3416538F9497}"/>
                  </a:ext>
                </a:extLst>
              </p:cNvPr>
              <p:cNvSpPr/>
              <p:nvPr/>
            </p:nvSpPr>
            <p:spPr>
              <a:xfrm>
                <a:off x="2628900" y="1778000"/>
                <a:ext cx="965200" cy="20447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058FC7D1-8A33-4A27-BEF7-219A505B0BBD}"/>
                  </a:ext>
                </a:extLst>
              </p:cNvPr>
              <p:cNvSpPr/>
              <p:nvPr/>
            </p:nvSpPr>
            <p:spPr>
              <a:xfrm>
                <a:off x="1257300" y="2809874"/>
                <a:ext cx="965200" cy="101282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CD75338F-B5B2-4206-9AA1-0D0661FCF84D}"/>
                </a:ext>
              </a:extLst>
            </p:cNvPr>
            <p:cNvGrpSpPr/>
            <p:nvPr/>
          </p:nvGrpSpPr>
          <p:grpSpPr>
            <a:xfrm flipH="1">
              <a:off x="1117600" y="2028334"/>
              <a:ext cx="2336800" cy="2044700"/>
              <a:chOff x="1257300" y="1778000"/>
              <a:chExt cx="2336800" cy="2044700"/>
            </a:xfrm>
            <a:gradFill>
              <a:gsLst>
                <a:gs pos="32000">
                  <a:schemeClr val="accent1"/>
                </a:gs>
                <a:gs pos="86000">
                  <a:schemeClr val="accent1">
                    <a:lumMod val="75000"/>
                  </a:schemeClr>
                </a:gs>
              </a:gsLst>
              <a:lin ang="2700000" scaled="1"/>
            </a:gradFill>
          </p:grpSpPr>
          <p:sp>
            <p:nvSpPr>
              <p:cNvPr id="42" name="Rectangle: Rounded Corners 41">
                <a:extLst>
                  <a:ext uri="{FF2B5EF4-FFF2-40B4-BE49-F238E27FC236}">
                    <a16:creationId xmlns:a16="http://schemas.microsoft.com/office/drawing/2014/main" id="{E80C42D1-8A8E-4241-BF7E-973FE48540F1}"/>
                  </a:ext>
                </a:extLst>
              </p:cNvPr>
              <p:cNvSpPr/>
              <p:nvPr/>
            </p:nvSpPr>
            <p:spPr>
              <a:xfrm>
                <a:off x="1257300" y="1778000"/>
                <a:ext cx="2336800" cy="2044700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5291ED22-F926-4683-A978-833C87B8DD78}"/>
                  </a:ext>
                </a:extLst>
              </p:cNvPr>
              <p:cNvSpPr/>
              <p:nvPr/>
            </p:nvSpPr>
            <p:spPr>
              <a:xfrm>
                <a:off x="2628900" y="1778000"/>
                <a:ext cx="965200" cy="20447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767492DC-9121-48BF-B78D-137D0116B4D5}"/>
                  </a:ext>
                </a:extLst>
              </p:cNvPr>
              <p:cNvSpPr/>
              <p:nvPr/>
            </p:nvSpPr>
            <p:spPr>
              <a:xfrm>
                <a:off x="1257300" y="2809874"/>
                <a:ext cx="965200" cy="101282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+mj-lt"/>
                </a:endParaRPr>
              </a:p>
            </p:txBody>
          </p:sp>
        </p:grp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5716AF10-3045-457E-A435-81DB7354B39C}"/>
                </a:ext>
              </a:extLst>
            </p:cNvPr>
            <p:cNvSpPr/>
            <p:nvPr/>
          </p:nvSpPr>
          <p:spPr>
            <a:xfrm>
              <a:off x="1920784" y="1812197"/>
              <a:ext cx="1314717" cy="1553806"/>
            </a:xfrm>
            <a:custGeom>
              <a:avLst/>
              <a:gdLst/>
              <a:ahLst/>
              <a:cxnLst/>
              <a:rect l="l" t="t" r="r" b="b"/>
              <a:pathLst>
                <a:path w="1526780" h="1804434">
                  <a:moveTo>
                    <a:pt x="817657" y="0"/>
                  </a:moveTo>
                  <a:cubicBezTo>
                    <a:pt x="949393" y="893"/>
                    <a:pt x="1076657" y="19283"/>
                    <a:pt x="1199449" y="55169"/>
                  </a:cubicBezTo>
                  <a:cubicBezTo>
                    <a:pt x="1322241" y="91055"/>
                    <a:pt x="1430510" y="139078"/>
                    <a:pt x="1524255" y="199239"/>
                  </a:cubicBezTo>
                  <a:lnTo>
                    <a:pt x="1350205" y="565141"/>
                  </a:lnTo>
                  <a:cubicBezTo>
                    <a:pt x="1253928" y="510856"/>
                    <a:pt x="1153835" y="466040"/>
                    <a:pt x="1049926" y="430693"/>
                  </a:cubicBezTo>
                  <a:cubicBezTo>
                    <a:pt x="946017" y="395346"/>
                    <a:pt x="855965" y="377042"/>
                    <a:pt x="779768" y="375779"/>
                  </a:cubicBezTo>
                  <a:cubicBezTo>
                    <a:pt x="723462" y="375779"/>
                    <a:pt x="678838" y="385878"/>
                    <a:pt x="645896" y="406075"/>
                  </a:cubicBezTo>
                  <a:cubicBezTo>
                    <a:pt x="612954" y="426273"/>
                    <a:pt x="596115" y="456571"/>
                    <a:pt x="595378" y="496969"/>
                  </a:cubicBezTo>
                  <a:cubicBezTo>
                    <a:pt x="597862" y="553863"/>
                    <a:pt x="630150" y="597426"/>
                    <a:pt x="692244" y="627657"/>
                  </a:cubicBezTo>
                  <a:cubicBezTo>
                    <a:pt x="754337" y="657889"/>
                    <a:pt x="831333" y="684888"/>
                    <a:pt x="923231" y="708656"/>
                  </a:cubicBezTo>
                  <a:cubicBezTo>
                    <a:pt x="1015130" y="732424"/>
                    <a:pt x="1107028" y="763059"/>
                    <a:pt x="1198926" y="800562"/>
                  </a:cubicBezTo>
                  <a:cubicBezTo>
                    <a:pt x="1290825" y="838065"/>
                    <a:pt x="1367821" y="892536"/>
                    <a:pt x="1429914" y="963973"/>
                  </a:cubicBezTo>
                  <a:cubicBezTo>
                    <a:pt x="1492008" y="1035411"/>
                    <a:pt x="1524296" y="1133916"/>
                    <a:pt x="1526780" y="1259487"/>
                  </a:cubicBezTo>
                  <a:cubicBezTo>
                    <a:pt x="1525287" y="1379813"/>
                    <a:pt x="1492958" y="1480365"/>
                    <a:pt x="1429793" y="1561143"/>
                  </a:cubicBezTo>
                  <a:cubicBezTo>
                    <a:pt x="1366628" y="1641922"/>
                    <a:pt x="1281584" y="1702653"/>
                    <a:pt x="1174662" y="1743338"/>
                  </a:cubicBezTo>
                  <a:cubicBezTo>
                    <a:pt x="1067739" y="1784023"/>
                    <a:pt x="947896" y="1804389"/>
                    <a:pt x="815131" y="1804434"/>
                  </a:cubicBezTo>
                  <a:cubicBezTo>
                    <a:pt x="665164" y="1803541"/>
                    <a:pt x="518875" y="1778216"/>
                    <a:pt x="376264" y="1728459"/>
                  </a:cubicBezTo>
                  <a:cubicBezTo>
                    <a:pt x="233654" y="1678702"/>
                    <a:pt x="108232" y="1609872"/>
                    <a:pt x="0" y="1521969"/>
                  </a:cubicBezTo>
                  <a:lnTo>
                    <a:pt x="179168" y="1161016"/>
                  </a:lnTo>
                  <a:cubicBezTo>
                    <a:pt x="273810" y="1240656"/>
                    <a:pt x="380300" y="1304830"/>
                    <a:pt x="498636" y="1353539"/>
                  </a:cubicBezTo>
                  <a:cubicBezTo>
                    <a:pt x="616972" y="1402249"/>
                    <a:pt x="724154" y="1427287"/>
                    <a:pt x="820183" y="1428655"/>
                  </a:cubicBezTo>
                  <a:cubicBezTo>
                    <a:pt x="889119" y="1428497"/>
                    <a:pt x="943215" y="1416188"/>
                    <a:pt x="982473" y="1391728"/>
                  </a:cubicBezTo>
                  <a:cubicBezTo>
                    <a:pt x="1021730" y="1367269"/>
                    <a:pt x="1041727" y="1331604"/>
                    <a:pt x="1042464" y="1284736"/>
                  </a:cubicBezTo>
                  <a:cubicBezTo>
                    <a:pt x="1039980" y="1226364"/>
                    <a:pt x="1007691" y="1182121"/>
                    <a:pt x="945598" y="1152007"/>
                  </a:cubicBezTo>
                  <a:cubicBezTo>
                    <a:pt x="883504" y="1121894"/>
                    <a:pt x="806508" y="1095588"/>
                    <a:pt x="714610" y="1073089"/>
                  </a:cubicBezTo>
                  <a:cubicBezTo>
                    <a:pt x="622712" y="1050591"/>
                    <a:pt x="530813" y="1021578"/>
                    <a:pt x="438915" y="986051"/>
                  </a:cubicBezTo>
                  <a:cubicBezTo>
                    <a:pt x="347017" y="950524"/>
                    <a:pt x="270021" y="898161"/>
                    <a:pt x="207927" y="828962"/>
                  </a:cubicBezTo>
                  <a:cubicBezTo>
                    <a:pt x="145834" y="759763"/>
                    <a:pt x="113545" y="663406"/>
                    <a:pt x="111061" y="539892"/>
                  </a:cubicBezTo>
                  <a:cubicBezTo>
                    <a:pt x="113840" y="372774"/>
                    <a:pt x="178281" y="241472"/>
                    <a:pt x="304384" y="145984"/>
                  </a:cubicBezTo>
                  <a:cubicBezTo>
                    <a:pt x="430486" y="50497"/>
                    <a:pt x="601577" y="1835"/>
                    <a:pt x="81765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outerShdw blurRad="596900" dist="139700" dir="2700000" algn="tl" rotWithShape="0">
                <a:prstClr val="black">
                  <a:alpha val="69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20000"/>
                </a:lnSpc>
              </a:pPr>
              <a:endParaRPr lang="en-US" sz="19900" dirty="0">
                <a:solidFill>
                  <a:schemeClr val="bg1"/>
                </a:solidFill>
                <a:latin typeface="+mj-lt"/>
                <a:cs typeface="Open Sans Light" panose="020B0306030504020204" pitchFamily="34" charset="0"/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896F57B1-8AD2-4C11-AC4A-E24ACDFB7837}"/>
                </a:ext>
              </a:extLst>
            </p:cNvPr>
            <p:cNvSpPr/>
            <p:nvPr/>
          </p:nvSpPr>
          <p:spPr>
            <a:xfrm>
              <a:off x="3852769" y="1944753"/>
              <a:ext cx="2377576" cy="1523377"/>
            </a:xfrm>
            <a:custGeom>
              <a:avLst/>
              <a:gdLst/>
              <a:ahLst/>
              <a:cxnLst/>
              <a:rect l="l" t="t" r="r" b="b"/>
              <a:pathLst>
                <a:path w="2761077" h="1769096">
                  <a:moveTo>
                    <a:pt x="0" y="0"/>
                  </a:moveTo>
                  <a:lnTo>
                    <a:pt x="497200" y="0"/>
                  </a:lnTo>
                  <a:lnTo>
                    <a:pt x="832872" y="1279732"/>
                  </a:lnTo>
                  <a:lnTo>
                    <a:pt x="1166021" y="0"/>
                  </a:lnTo>
                  <a:lnTo>
                    <a:pt x="1617791" y="0"/>
                  </a:lnTo>
                  <a:lnTo>
                    <a:pt x="1953464" y="1279732"/>
                  </a:lnTo>
                  <a:lnTo>
                    <a:pt x="2286613" y="0"/>
                  </a:lnTo>
                  <a:lnTo>
                    <a:pt x="2761077" y="0"/>
                  </a:lnTo>
                  <a:lnTo>
                    <a:pt x="2178087" y="1769096"/>
                  </a:lnTo>
                  <a:lnTo>
                    <a:pt x="1701078" y="1769096"/>
                  </a:lnTo>
                  <a:lnTo>
                    <a:pt x="1383073" y="575404"/>
                  </a:lnTo>
                  <a:lnTo>
                    <a:pt x="1054972" y="1769096"/>
                  </a:lnTo>
                  <a:lnTo>
                    <a:pt x="580487" y="176909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outerShdw blurRad="546100" dist="139700" dir="2700000" algn="tl" rotWithShape="0">
                <a:prstClr val="black">
                  <a:alpha val="63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20000"/>
                </a:lnSpc>
              </a:pPr>
              <a:endParaRPr lang="en-US" sz="19900" dirty="0">
                <a:solidFill>
                  <a:schemeClr val="bg1"/>
                </a:solidFill>
                <a:latin typeface="+mj-lt"/>
                <a:cs typeface="Open Sans Light" panose="020B0306030504020204" pitchFamily="34" charset="0"/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462DA7-2BFB-4D3D-92F2-6DD6AB68E1EE}"/>
                </a:ext>
              </a:extLst>
            </p:cNvPr>
            <p:cNvSpPr/>
            <p:nvPr/>
          </p:nvSpPr>
          <p:spPr>
            <a:xfrm>
              <a:off x="6916430" y="1921100"/>
              <a:ext cx="1647268" cy="1551632"/>
            </a:xfrm>
            <a:custGeom>
              <a:avLst/>
              <a:gdLst/>
              <a:ahLst/>
              <a:cxnLst/>
              <a:rect l="l" t="t" r="r" b="b"/>
              <a:pathLst>
                <a:path w="1912971" h="1801909">
                  <a:moveTo>
                    <a:pt x="961532" y="393448"/>
                  </a:moveTo>
                  <a:cubicBezTo>
                    <a:pt x="825238" y="396499"/>
                    <a:pt x="710880" y="444683"/>
                    <a:pt x="618457" y="538001"/>
                  </a:cubicBezTo>
                  <a:cubicBezTo>
                    <a:pt x="526034" y="631318"/>
                    <a:pt x="477955" y="751462"/>
                    <a:pt x="474220" y="898433"/>
                  </a:cubicBezTo>
                  <a:cubicBezTo>
                    <a:pt x="478112" y="1045613"/>
                    <a:pt x="526507" y="1166597"/>
                    <a:pt x="619403" y="1261386"/>
                  </a:cubicBezTo>
                  <a:cubicBezTo>
                    <a:pt x="712300" y="1356175"/>
                    <a:pt x="826343" y="1405200"/>
                    <a:pt x="961532" y="1408461"/>
                  </a:cubicBezTo>
                  <a:cubicBezTo>
                    <a:pt x="1097405" y="1405200"/>
                    <a:pt x="1210082" y="1356175"/>
                    <a:pt x="1299561" y="1261386"/>
                  </a:cubicBezTo>
                  <a:cubicBezTo>
                    <a:pt x="1389040" y="1166597"/>
                    <a:pt x="1435437" y="1045613"/>
                    <a:pt x="1438751" y="898433"/>
                  </a:cubicBezTo>
                  <a:cubicBezTo>
                    <a:pt x="1435437" y="751462"/>
                    <a:pt x="1389040" y="631318"/>
                    <a:pt x="1299561" y="538001"/>
                  </a:cubicBezTo>
                  <a:cubicBezTo>
                    <a:pt x="1210082" y="444683"/>
                    <a:pt x="1097405" y="396499"/>
                    <a:pt x="961532" y="393448"/>
                  </a:cubicBezTo>
                  <a:close/>
                  <a:moveTo>
                    <a:pt x="956482" y="0"/>
                  </a:moveTo>
                  <a:cubicBezTo>
                    <a:pt x="1140763" y="1569"/>
                    <a:pt x="1304585" y="41026"/>
                    <a:pt x="1447951" y="118373"/>
                  </a:cubicBezTo>
                  <a:cubicBezTo>
                    <a:pt x="1591316" y="195719"/>
                    <a:pt x="1704245" y="301540"/>
                    <a:pt x="1786737" y="435836"/>
                  </a:cubicBezTo>
                  <a:cubicBezTo>
                    <a:pt x="1869230" y="570132"/>
                    <a:pt x="1911308" y="723489"/>
                    <a:pt x="1912971" y="895908"/>
                  </a:cubicBezTo>
                  <a:cubicBezTo>
                    <a:pt x="1911308" y="1070041"/>
                    <a:pt x="1869230" y="1225019"/>
                    <a:pt x="1786737" y="1360842"/>
                  </a:cubicBezTo>
                  <a:cubicBezTo>
                    <a:pt x="1704245" y="1496664"/>
                    <a:pt x="1591316" y="1603731"/>
                    <a:pt x="1447951" y="1682042"/>
                  </a:cubicBezTo>
                  <a:cubicBezTo>
                    <a:pt x="1304585" y="1760354"/>
                    <a:pt x="1140763" y="1800309"/>
                    <a:pt x="956482" y="1801909"/>
                  </a:cubicBezTo>
                  <a:cubicBezTo>
                    <a:pt x="772203" y="1800309"/>
                    <a:pt x="608381" y="1760354"/>
                    <a:pt x="465017" y="1682042"/>
                  </a:cubicBezTo>
                  <a:cubicBezTo>
                    <a:pt x="321653" y="1603731"/>
                    <a:pt x="208725" y="1496664"/>
                    <a:pt x="126233" y="1360842"/>
                  </a:cubicBezTo>
                  <a:cubicBezTo>
                    <a:pt x="43740" y="1225019"/>
                    <a:pt x="1663" y="1070041"/>
                    <a:pt x="0" y="895908"/>
                  </a:cubicBezTo>
                  <a:cubicBezTo>
                    <a:pt x="1663" y="722695"/>
                    <a:pt x="43740" y="568964"/>
                    <a:pt x="126233" y="434715"/>
                  </a:cubicBezTo>
                  <a:cubicBezTo>
                    <a:pt x="208725" y="300466"/>
                    <a:pt x="321653" y="194831"/>
                    <a:pt x="465017" y="117812"/>
                  </a:cubicBezTo>
                  <a:cubicBezTo>
                    <a:pt x="608381" y="40793"/>
                    <a:pt x="772203" y="1522"/>
                    <a:pt x="956482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546100" dist="139700" dir="2700000" algn="tl" rotWithShape="0">
                <a:prstClr val="black">
                  <a:alpha val="63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20000"/>
                </a:lnSpc>
              </a:pPr>
              <a:endParaRPr lang="en-US" sz="19900" dirty="0">
                <a:solidFill>
                  <a:schemeClr val="bg1"/>
                </a:solidFill>
                <a:latin typeface="+mj-lt"/>
                <a:cs typeface="Open Sans Light" panose="020B0306030504020204" pitchFamily="34" charset="0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EE05CC90-FEB1-4ABA-B233-47F3CEDFB04D}"/>
                </a:ext>
              </a:extLst>
            </p:cNvPr>
            <p:cNvSpPr/>
            <p:nvPr/>
          </p:nvSpPr>
          <p:spPr>
            <a:xfrm>
              <a:off x="9455679" y="1967855"/>
              <a:ext cx="1613948" cy="1540765"/>
            </a:xfrm>
            <a:custGeom>
              <a:avLst/>
              <a:gdLst/>
              <a:ahLst/>
              <a:cxnLst/>
              <a:rect l="l" t="t" r="r" b="b"/>
              <a:pathLst>
                <a:path w="1516684" h="1769096">
                  <a:moveTo>
                    <a:pt x="0" y="0"/>
                  </a:moveTo>
                  <a:lnTo>
                    <a:pt x="1516684" y="0"/>
                  </a:lnTo>
                  <a:lnTo>
                    <a:pt x="1516684" y="380828"/>
                  </a:lnTo>
                  <a:lnTo>
                    <a:pt x="986617" y="380828"/>
                  </a:lnTo>
                  <a:lnTo>
                    <a:pt x="986617" y="1769096"/>
                  </a:lnTo>
                  <a:lnTo>
                    <a:pt x="525018" y="1769096"/>
                  </a:lnTo>
                  <a:lnTo>
                    <a:pt x="525018" y="380828"/>
                  </a:lnTo>
                  <a:lnTo>
                    <a:pt x="0" y="38082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546100" dist="139700" dir="2700000" algn="tl" rotWithShape="0">
                <a:prstClr val="black">
                  <a:alpha val="63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20000"/>
                </a:lnSpc>
              </a:pPr>
              <a:endParaRPr lang="en-US" sz="19900" dirty="0">
                <a:solidFill>
                  <a:schemeClr val="bg1"/>
                </a:solidFill>
                <a:latin typeface="+mj-lt"/>
                <a:cs typeface="Open Sans Light" panose="020B0306030504020204" pitchFamily="34" charset="0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489234C0-F75E-42FC-989C-CFD661291660}"/>
                </a:ext>
              </a:extLst>
            </p:cNvPr>
            <p:cNvSpPr/>
            <p:nvPr/>
          </p:nvSpPr>
          <p:spPr>
            <a:xfrm>
              <a:off x="1200915" y="3568678"/>
              <a:ext cx="1999322" cy="39690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dirty="0">
                  <a:solidFill>
                    <a:schemeClr val="bg1"/>
                  </a:solidFill>
                  <a:latin typeface="+mj-lt"/>
                  <a:cs typeface="Open Sans Light" panose="020B0306030504020204" pitchFamily="34" charset="0"/>
                </a:rPr>
                <a:t>Strength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BB9B1C7B-F087-4B1E-A91C-FB02C62AF256}"/>
                </a:ext>
              </a:extLst>
            </p:cNvPr>
            <p:cNvSpPr/>
            <p:nvPr/>
          </p:nvSpPr>
          <p:spPr>
            <a:xfrm>
              <a:off x="3699245" y="3568678"/>
              <a:ext cx="1999322" cy="39690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dirty="0">
                  <a:solidFill>
                    <a:schemeClr val="bg1"/>
                  </a:solidFill>
                  <a:latin typeface="+mj-lt"/>
                  <a:cs typeface="Open Sans Light" panose="020B0306030504020204" pitchFamily="34" charset="0"/>
                </a:rPr>
                <a:t>Weakness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739CBDB5-611F-4420-B5FE-EB36025CE0D4}"/>
                </a:ext>
              </a:extLst>
            </p:cNvPr>
            <p:cNvSpPr/>
            <p:nvPr/>
          </p:nvSpPr>
          <p:spPr>
            <a:xfrm>
              <a:off x="6281187" y="3573280"/>
              <a:ext cx="1999322" cy="39690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dirty="0">
                  <a:solidFill>
                    <a:schemeClr val="bg1"/>
                  </a:solidFill>
                  <a:latin typeface="+mj-lt"/>
                  <a:cs typeface="Open Sans Light" panose="020B0306030504020204" pitchFamily="34" charset="0"/>
                </a:rPr>
                <a:t>Opportunity</a:t>
              </a: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7EDECDEB-2E39-49BC-A902-54AB8797B34D}"/>
                </a:ext>
              </a:extLst>
            </p:cNvPr>
            <p:cNvSpPr/>
            <p:nvPr/>
          </p:nvSpPr>
          <p:spPr>
            <a:xfrm>
              <a:off x="8816824" y="3578459"/>
              <a:ext cx="1999322" cy="39690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dirty="0">
                  <a:solidFill>
                    <a:schemeClr val="bg1"/>
                  </a:solidFill>
                  <a:latin typeface="+mj-lt"/>
                  <a:cs typeface="Open Sans Light" panose="020B0306030504020204" pitchFamily="34" charset="0"/>
                </a:rPr>
                <a:t>Threat</a:t>
              </a:r>
            </a:p>
          </p:txBody>
        </p:sp>
      </p:grpSp>
      <p:sp>
        <p:nvSpPr>
          <p:cNvPr id="55" name="Rectangle 54">
            <a:extLst>
              <a:ext uri="{FF2B5EF4-FFF2-40B4-BE49-F238E27FC236}">
                <a16:creationId xmlns:a16="http://schemas.microsoft.com/office/drawing/2014/main" id="{D57DF088-3630-49D0-AEBF-AFF09DB3EBA9}"/>
              </a:ext>
            </a:extLst>
          </p:cNvPr>
          <p:cNvSpPr/>
          <p:nvPr/>
        </p:nvSpPr>
        <p:spPr>
          <a:xfrm>
            <a:off x="1200915" y="4079849"/>
            <a:ext cx="185075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d-ID" sz="1200" dirty="0">
                <a:solidFill>
                  <a:schemeClr val="tx2">
                    <a:lumMod val="60000"/>
                    <a:lumOff val="40000"/>
                  </a:schemeClr>
                </a:solidFill>
                <a:cs typeface="Segoe UI Light" panose="020B0502040204020203" pitchFamily="34" charset="0"/>
              </a:rPr>
              <a:t>Lorem ipsum dolor sit amet, consectetur adipiscing ed id risus quis ex congue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E384F392-B8F2-4065-BE5C-83A3BEFD6F17}"/>
              </a:ext>
            </a:extLst>
          </p:cNvPr>
          <p:cNvSpPr/>
          <p:nvPr/>
        </p:nvSpPr>
        <p:spPr>
          <a:xfrm>
            <a:off x="3740233" y="4079849"/>
            <a:ext cx="185075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d-ID" sz="1200" dirty="0">
                <a:solidFill>
                  <a:schemeClr val="tx2">
                    <a:lumMod val="60000"/>
                    <a:lumOff val="40000"/>
                  </a:schemeClr>
                </a:solidFill>
                <a:cs typeface="Segoe UI Light" panose="020B0502040204020203" pitchFamily="34" charset="0"/>
              </a:rPr>
              <a:t>Lorem ipsum dolor sit amet, consectetur adipiscing ed id risus quis ex congue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AD53A27F-3E6F-4D4E-91D0-52F7BEE5B859}"/>
              </a:ext>
            </a:extLst>
          </p:cNvPr>
          <p:cNvSpPr/>
          <p:nvPr/>
        </p:nvSpPr>
        <p:spPr>
          <a:xfrm>
            <a:off x="6279551" y="4079849"/>
            <a:ext cx="185075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d-ID" sz="1200" dirty="0">
                <a:solidFill>
                  <a:schemeClr val="tx2">
                    <a:lumMod val="60000"/>
                    <a:lumOff val="40000"/>
                  </a:schemeClr>
                </a:solidFill>
                <a:cs typeface="Segoe UI Light" panose="020B0502040204020203" pitchFamily="34" charset="0"/>
              </a:rPr>
              <a:t>Lorem ipsum dolor sit amet, consectetur adipiscing ed id risus quis ex congue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A0EB3E3B-86C0-4E9C-898F-B168BD008BA6}"/>
              </a:ext>
            </a:extLst>
          </p:cNvPr>
          <p:cNvSpPr/>
          <p:nvPr/>
        </p:nvSpPr>
        <p:spPr>
          <a:xfrm>
            <a:off x="8818870" y="4079849"/>
            <a:ext cx="185075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d-ID" sz="1200" dirty="0">
                <a:solidFill>
                  <a:schemeClr val="tx2">
                    <a:lumMod val="60000"/>
                    <a:lumOff val="40000"/>
                  </a:schemeClr>
                </a:solidFill>
                <a:cs typeface="Segoe UI Light" panose="020B0502040204020203" pitchFamily="34" charset="0"/>
              </a:rPr>
              <a:t>Lorem ipsum dolor sit amet, consectetur adipiscing ed id risus quis ex congu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934132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PT_AGENDA_PRESENTATION_COLOR_TAG" val="#00007D"/>
  <p:tag name="POWER_USER_PPT_AGENDA_PRESENTATION_DIVIDERS_CHECKED_TAG" val="0"/>
  <p:tag name="POWER_USER_PPT_AGENDA_PRESENTATION_TABLE_OF_CONTENT_CHECKED_TAG" val="1"/>
  <p:tag name="POWER_USER_PPT_AGENDA_PRESENTATION_TITLE_TEXT_TAG" val="Agenda"/>
  <p:tag name="POWER_USER_PPT_AGENDA_PRESENTATION_SHOULD_CREATE_TABLE_OF_CONTENT_TAG" val="0"/>
  <p:tag name="POWER_USER_PPT_AGENDA_PRESENTATION_SHOW_SLIDE_NUMBERS_CHECKED_TAG" val="1"/>
  <p:tag name="POWER_USER_PPT_AGENDA_PRESENTATION_SHOW_SECTION_NUMBERS_CHECKED_TAG" val="1"/>
  <p:tag name="POWER_USER_PPT_AGENDA_PRESENTATION_SHOW_BREADSCRUMBS_CHECKED_TAG" val="0"/>
  <p:tag name="ARTICULATE_DESIGN_ID_OFFICE THEME" val="syyYgZJJ"/>
  <p:tag name="ARTICULATE_SLIDE_COUNT" val="50"/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Office Theme">
  <a:themeElements>
    <a:clrScheme name="Infographics">
      <a:dk1>
        <a:sysClr val="windowText" lastClr="000000"/>
      </a:dk1>
      <a:lt1>
        <a:sysClr val="window" lastClr="FFFFFF"/>
      </a:lt1>
      <a:dk2>
        <a:srgbClr val="58595B"/>
      </a:dk2>
      <a:lt2>
        <a:srgbClr val="F1F2F2"/>
      </a:lt2>
      <a:accent1>
        <a:srgbClr val="00007D"/>
      </a:accent1>
      <a:accent2>
        <a:srgbClr val="1428A0"/>
      </a:accent2>
      <a:accent3>
        <a:srgbClr val="0077C8"/>
      </a:accent3>
      <a:accent4>
        <a:srgbClr val="00B3E3"/>
      </a:accent4>
      <a:accent5>
        <a:srgbClr val="00C3B2"/>
      </a:accent5>
      <a:accent6>
        <a:srgbClr val="97D653"/>
      </a:accent6>
      <a:hlink>
        <a:srgbClr val="00007D"/>
      </a:hlink>
      <a:folHlink>
        <a:srgbClr val="00007D"/>
      </a:folHlink>
    </a:clrScheme>
    <a:fontScheme name="Custom 157">
      <a:majorFont>
        <a:latin typeface="Tahoma bold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10">
    <wetp:webextensionref xmlns:r="http://schemas.openxmlformats.org/officeDocument/2006/relationships" r:id="rId1"/>
  </wetp:taskpane>
  <wetp:taskpane dockstate="right" visibility="0" width="350" row="9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4F0DB6AD-AA6A-49C8-9264-101355AEA7B2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B62E04DD-50D8-4D76-9848-6555A8D2B5D4}">
  <we:reference id="wa200001396" version="2.1.6.0" store="en-001" storeType="OMEX"/>
  <we:alternateReferences>
    <we:reference id="wa200001396" version="2.1.6.0" store="en-001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otalTime>20192</TotalTime>
  <Words>64</Words>
  <Application>Microsoft Office PowerPoint</Application>
  <PresentationFormat>Widescreen</PresentationFormat>
  <Paragraphs>10</Paragraphs>
  <Slides>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Tahoma</vt:lpstr>
      <vt:lpstr>Tahoma bold</vt:lpstr>
      <vt:lpstr>Office Theme</vt:lpstr>
      <vt:lpstr>Slide Title Her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drew monir</dc:creator>
  <cp:lastModifiedBy>andrew monir</cp:lastModifiedBy>
  <cp:revision>518</cp:revision>
  <dcterms:created xsi:type="dcterms:W3CDTF">2020-11-27T23:09:27Z</dcterms:created>
  <dcterms:modified xsi:type="dcterms:W3CDTF">2021-04-06T18:43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4BB15136-D798-4488-8D6D-3187EBF00F3F</vt:lpwstr>
  </property>
  <property fmtid="{D5CDD505-2E9C-101B-9397-08002B2CF9AE}" pid="3" name="ArticulatePath">
    <vt:lpwstr>https://d.docs.live.net/a32d64b1d32ea93c/Infographics/Infographics/Master file</vt:lpwstr>
  </property>
</Properties>
</file>